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6" r:id="rId4"/>
    <p:sldMasterId id="2147483694" r:id="rId5"/>
    <p:sldMasterId id="2147483713" r:id="rId6"/>
    <p:sldMasterId id="2147483648" r:id="rId7"/>
    <p:sldMasterId id="2147484003" r:id="rId8"/>
  </p:sldMasterIdLst>
  <p:notesMasterIdLst>
    <p:notesMasterId r:id="rId11"/>
  </p:notesMasterIdLst>
  <p:handoutMasterIdLst>
    <p:handoutMasterId r:id="rId12"/>
  </p:handoutMasterIdLst>
  <p:sldIdLst>
    <p:sldId id="10796" r:id="rId9"/>
    <p:sldId id="2128752707" r:id="rId10"/>
  </p:sldIdLst>
  <p:sldSz cx="9144000" cy="5143500" type="screen16x9"/>
  <p:notesSz cx="7315200" cy="96012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31">
          <p15:clr>
            <a:srgbClr val="A4A3A4"/>
          </p15:clr>
        </p15:guide>
        <p15:guide id="2" orient="horz" pos="2762">
          <p15:clr>
            <a:srgbClr val="A4A3A4"/>
          </p15:clr>
        </p15:guide>
        <p15:guide id="3" orient="horz" pos="990">
          <p15:clr>
            <a:srgbClr val="A4A3A4"/>
          </p15:clr>
        </p15:guide>
        <p15:guide id="4" orient="horz" pos="3104">
          <p15:clr>
            <a:srgbClr val="A4A3A4"/>
          </p15:clr>
        </p15:guide>
        <p15:guide id="5" orient="horz" pos="566">
          <p15:clr>
            <a:srgbClr val="A4A3A4"/>
          </p15:clr>
        </p15:guide>
        <p15:guide id="6" orient="horz" pos="2639">
          <p15:clr>
            <a:srgbClr val="A4A3A4"/>
          </p15:clr>
        </p15:guide>
        <p15:guide id="7" orient="horz" pos="758">
          <p15:clr>
            <a:srgbClr val="A4A3A4"/>
          </p15:clr>
        </p15:guide>
        <p15:guide id="8" orient="horz" pos="145">
          <p15:clr>
            <a:srgbClr val="A4A3A4"/>
          </p15:clr>
        </p15:guide>
        <p15:guide id="9" orient="horz" pos="1688">
          <p15:clr>
            <a:srgbClr val="A4A3A4"/>
          </p15:clr>
        </p15:guide>
        <p15:guide id="10" orient="horz" pos="2828">
          <p15:clr>
            <a:srgbClr val="A4A3A4"/>
          </p15:clr>
        </p15:guide>
        <p15:guide id="11" pos="5630">
          <p15:clr>
            <a:srgbClr val="A4A3A4"/>
          </p15:clr>
        </p15:guide>
        <p15:guide id="12" pos="3788">
          <p15:clr>
            <a:srgbClr val="A4A3A4"/>
          </p15:clr>
        </p15:guide>
        <p15:guide id="13" pos="2906">
          <p15:clr>
            <a:srgbClr val="A4A3A4"/>
          </p15:clr>
        </p15:guide>
        <p15:guide id="14" pos="3674">
          <p15:clr>
            <a:srgbClr val="A4A3A4"/>
          </p15:clr>
        </p15:guide>
        <p15:guide id="15" pos="3901">
          <p15:clr>
            <a:srgbClr val="A4A3A4"/>
          </p15:clr>
        </p15:guide>
        <p15:guide id="16" pos="3018">
          <p15:clr>
            <a:srgbClr val="A4A3A4"/>
          </p15:clr>
        </p15:guide>
        <p15:guide id="17" pos="2791">
          <p15:clr>
            <a:srgbClr val="A4A3A4"/>
          </p15:clr>
        </p15:guide>
        <p15:guide id="18" pos="159">
          <p15:clr>
            <a:srgbClr val="A4A3A4"/>
          </p15:clr>
        </p15:guide>
        <p15:guide id="19" pos="184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ckie Barlow" initials="" lastIdx="6" clrIdx="0"/>
  <p:cmAuthor id="1" name="Ray Fallon" initials="RF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B"/>
    <a:srgbClr val="FFFF00"/>
    <a:srgbClr val="FFFFFF"/>
    <a:srgbClr val="58C97B"/>
    <a:srgbClr val="36C746"/>
    <a:srgbClr val="FFED99"/>
    <a:srgbClr val="9FA0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4623" autoAdjust="0"/>
  </p:normalViewPr>
  <p:slideViewPr>
    <p:cSldViewPr snapToGrid="0">
      <p:cViewPr varScale="1">
        <p:scale>
          <a:sx n="84" d="100"/>
          <a:sy n="84" d="100"/>
        </p:scale>
        <p:origin x="1426" y="77"/>
      </p:cViewPr>
      <p:guideLst>
        <p:guide orient="horz" pos="1831"/>
        <p:guide orient="horz" pos="2762"/>
        <p:guide orient="horz" pos="990"/>
        <p:guide orient="horz" pos="3104"/>
        <p:guide orient="horz" pos="566"/>
        <p:guide orient="horz" pos="2639"/>
        <p:guide orient="horz" pos="758"/>
        <p:guide orient="horz" pos="145"/>
        <p:guide orient="horz" pos="1688"/>
        <p:guide orient="horz" pos="2828"/>
        <p:guide pos="5630"/>
        <p:guide pos="3788"/>
        <p:guide pos="2906"/>
        <p:guide pos="3674"/>
        <p:guide pos="3901"/>
        <p:guide pos="3018"/>
        <p:guide pos="2791"/>
        <p:guide pos="159"/>
        <p:guide pos="184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3122E3A8-67DD-A54D-9ACE-7F6180D1A288}" type="datetimeFigureOut">
              <a:rPr lang="en-US" smtClean="0"/>
              <a:pPr/>
              <a:t>6/1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B5D751CF-426F-9546-9000-18E529FDEBD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89277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95BCB8AE-B9B2-1648-AE7C-D9F4FF496627}" type="datetimeFigureOut">
              <a:rPr lang="en-US" smtClean="0"/>
              <a:pPr/>
              <a:t>6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E7F34D1A-B7E5-DE48-8EA9-859D9DE636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43336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F34D1A-B7E5-DE48-8EA9-859D9DE6365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1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64594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381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52414" y="1971244"/>
            <a:ext cx="8673872" cy="55399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l">
              <a:buFont typeface="Arial"/>
              <a:buNone/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566267"/>
            <a:ext cx="867387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2000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11" name="Rectangle 10"/>
          <p:cNvSpPr/>
          <p:nvPr userDrawn="1"/>
        </p:nvSpPr>
        <p:spPr>
          <a:xfrm flipV="1">
            <a:off x="0" y="3711677"/>
            <a:ext cx="9144000" cy="675319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52414" y="3954254"/>
            <a:ext cx="4360862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d by: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4386996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5531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4F5156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4613" y="4568966"/>
            <a:ext cx="2120012" cy="530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01949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52413" y="1713559"/>
            <a:ext cx="8577821" cy="1231106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buFont typeface="Arial"/>
              <a:buNone/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QUOTE OR CALLOU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955454"/>
            <a:ext cx="857782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4613" y="4568966"/>
            <a:ext cx="2120012" cy="530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19921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on SE Life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52413" y="1713559"/>
            <a:ext cx="8577821" cy="1231106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buFont typeface="Arial"/>
              <a:buNone/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QUOTE OR CALLOUT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955454"/>
            <a:ext cx="857782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pic>
        <p:nvPicPr>
          <p:cNvPr id="8" name="Picture 7" descr="schneider_LIO_White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5947" y="4521136"/>
            <a:ext cx="1907005" cy="506914"/>
          </a:xfrm>
          <a:prstGeom prst="rect">
            <a:avLst/>
          </a:prstGeom>
        </p:spPr>
      </p:pic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2451089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Weave_175139600_LIO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3620222"/>
            <a:ext cx="9144000" cy="1523278"/>
          </a:xfrm>
          <a:prstGeom prst="rect">
            <a:avLst/>
          </a:prstGeom>
          <a:gradFill>
            <a:gsLst>
              <a:gs pos="0">
                <a:schemeClr val="tx1">
                  <a:alpha val="2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schneider_LIO_Whit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5947" y="4521136"/>
            <a:ext cx="1907005" cy="506914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25283182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Weave_463028807_LIO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620222"/>
            <a:ext cx="9144000" cy="1523278"/>
          </a:xfrm>
          <a:prstGeom prst="rect">
            <a:avLst/>
          </a:prstGeom>
          <a:gradFill>
            <a:gsLst>
              <a:gs pos="0">
                <a:schemeClr val="tx1">
                  <a:alpha val="2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chneider_LIO_Whit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5947" y="4521136"/>
            <a:ext cx="1907005" cy="506914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3927686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620222"/>
            <a:ext cx="9144000" cy="1523278"/>
          </a:xfrm>
          <a:prstGeom prst="rect">
            <a:avLst/>
          </a:prstGeom>
          <a:gradFill>
            <a:gsLst>
              <a:gs pos="0">
                <a:schemeClr val="tx1">
                  <a:alpha val="2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62180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1674435" y="4851248"/>
            <a:ext cx="8351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600">
                <a:solidFill>
                  <a:srgbClr val="FFFFFF"/>
                </a:solidFill>
                <a:latin typeface="Arial"/>
                <a:cs typeface="Arial"/>
              </a:rPr>
              <a:t>|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5531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10" name="Picture 9" descr="Weave_486603441_LIO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9" name="Picture 8" descr="schneider_LIO_Whit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5947" y="4521136"/>
            <a:ext cx="1907005" cy="506914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600" kern="120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15331834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Weave_522513175_LIO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620222"/>
            <a:ext cx="9144000" cy="1523278"/>
          </a:xfrm>
          <a:prstGeom prst="rect">
            <a:avLst/>
          </a:prstGeom>
          <a:gradFill>
            <a:gsLst>
              <a:gs pos="0">
                <a:schemeClr val="tx1">
                  <a:alpha val="2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chneider_LIO_Whit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5947" y="4521136"/>
            <a:ext cx="1907005" cy="506914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20156905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Weave_522794209_LIO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620222"/>
            <a:ext cx="9144000" cy="1523278"/>
          </a:xfrm>
          <a:prstGeom prst="rect">
            <a:avLst/>
          </a:prstGeom>
          <a:gradFill>
            <a:gsLst>
              <a:gs pos="0">
                <a:schemeClr val="tx1">
                  <a:alpha val="2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chneider_LIO_Whit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5947" y="4521136"/>
            <a:ext cx="1907005" cy="506914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15365114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Weave_528351183_LIO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3620222"/>
            <a:ext cx="9144000" cy="1523278"/>
          </a:xfrm>
          <a:prstGeom prst="rect">
            <a:avLst/>
          </a:prstGeom>
          <a:gradFill>
            <a:gsLst>
              <a:gs pos="0">
                <a:schemeClr val="tx1">
                  <a:alpha val="27000"/>
                </a:schemeClr>
              </a:gs>
              <a:gs pos="100000">
                <a:schemeClr val="accent1">
                  <a:tint val="50000"/>
                  <a:shade val="100000"/>
                  <a:satMod val="350000"/>
                  <a:alpha val="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schneider_LIO_White_RGB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5947" y="4521136"/>
            <a:ext cx="1907005" cy="506914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22975091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chneider_LIO_White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2549" y="2064587"/>
            <a:ext cx="3678903" cy="1014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0478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800" y="58341"/>
            <a:ext cx="8280400" cy="863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329928"/>
            <a:ext cx="8280400" cy="31277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9856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144000" cy="2908710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52000" tIns="0" rIns="0" bIns="252000" anchor="b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900386"/>
            <a:ext cx="9144000" cy="373063"/>
          </a:xfrm>
          <a:prstGeom prst="rect">
            <a:avLst/>
          </a:prstGeom>
          <a:solidFill>
            <a:schemeClr val="tx2"/>
          </a:solidFill>
        </p:spPr>
        <p:txBody>
          <a:bodyPr lIns="252000" tIns="0" rIns="0" bIns="0" anchor="ctr" anchorCtr="0"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4613" y="4568966"/>
            <a:ext cx="2120012" cy="530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50674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43307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91437" tIns="45718" rIns="91437" bIns="45718"/>
          <a:lstStyle>
            <a:lvl1pPr>
              <a:buNone/>
              <a:defRPr sz="14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52415" y="2609224"/>
            <a:ext cx="8673872" cy="553998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buFont typeface="Arial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5" y="3204247"/>
            <a:ext cx="8673872" cy="2154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pic>
        <p:nvPicPr>
          <p:cNvPr id="10" name="Picture 9" descr="schneider_LIO_Life-Green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7034" y="4494998"/>
            <a:ext cx="2041798" cy="562953"/>
          </a:xfrm>
          <a:prstGeom prst="rect">
            <a:avLst/>
          </a:prstGeom>
        </p:spPr>
      </p:pic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6" y="4857156"/>
            <a:ext cx="1505531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4F5156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 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3573630"/>
            <a:ext cx="9144000" cy="761890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91437" tIns="45718" rIns="91437" bIns="45718"/>
          <a:lstStyle>
            <a:lvl1pPr marL="178295" indent="-2362">
              <a:buNone/>
              <a:defRPr sz="12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err="1"/>
              <a:t>Presented</a:t>
            </a:r>
            <a:r>
              <a:rPr lang="fr-FR"/>
              <a:t> by: </a:t>
            </a:r>
          </a:p>
          <a:p>
            <a:pPr lvl="0"/>
            <a:r>
              <a:rPr lang="fr-FR"/>
              <a:t>Date: </a:t>
            </a:r>
          </a:p>
          <a:p>
            <a:pPr lvl="0"/>
            <a:endParaRPr lang="fr-FR"/>
          </a:p>
          <a:p>
            <a:pPr lvl="0"/>
            <a:endParaRPr lang="fr-FR"/>
          </a:p>
          <a:p>
            <a:pPr lvl="0"/>
            <a:endParaRPr lang="fr-FR"/>
          </a:p>
          <a:p>
            <a:pPr lvl="0"/>
            <a:endParaRPr lang="fr-FR"/>
          </a:p>
          <a:p>
            <a:pPr lvl="0"/>
            <a:endParaRPr lang="fr-FR"/>
          </a:p>
        </p:txBody>
      </p:sp>
      <p:sp>
        <p:nvSpPr>
          <p:cNvPr id="13" name="Rectangle 12"/>
          <p:cNvSpPr/>
          <p:nvPr userDrawn="1"/>
        </p:nvSpPr>
        <p:spPr>
          <a:xfrm>
            <a:off x="0" y="4261502"/>
            <a:ext cx="9144000" cy="2019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7" tIns="45718" rIns="91437" bIns="45718"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9336702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381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52414" y="1971244"/>
            <a:ext cx="8673872" cy="55399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l">
              <a:buFont typeface="Arial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566267"/>
            <a:ext cx="867387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2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11" name="Rectangle 10"/>
          <p:cNvSpPr/>
          <p:nvPr userDrawn="1"/>
        </p:nvSpPr>
        <p:spPr>
          <a:xfrm flipV="1">
            <a:off x="0" y="3711677"/>
            <a:ext cx="9144000" cy="675319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52414" y="3954254"/>
            <a:ext cx="4360862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d by: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4386996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5531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4F5156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39664473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144000" cy="2908710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52000" tIns="0" rIns="0" bIns="252000" anchor="b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900386"/>
            <a:ext cx="9144000" cy="373063"/>
          </a:xfrm>
          <a:prstGeom prst="rect">
            <a:avLst/>
          </a:prstGeom>
          <a:solidFill>
            <a:schemeClr val="tx2"/>
          </a:solidFill>
        </p:spPr>
        <p:txBody>
          <a:bodyPr lIns="252000" tIns="0" rIns="0" bIns="0" anchor="ctr" anchorCtr="0"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1826400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2514600"/>
            <a:ext cx="9144000" cy="867640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52000" tIns="0" rIns="0" bIns="0" anchor="ctr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74136"/>
            <a:ext cx="9144000" cy="373063"/>
          </a:xfrm>
          <a:prstGeom prst="rect">
            <a:avLst/>
          </a:prstGeom>
          <a:solidFill>
            <a:schemeClr val="tx2"/>
          </a:solidFill>
        </p:spPr>
        <p:txBody>
          <a:bodyPr lIns="252000" tIns="0" rIns="0" bIns="0" anchor="ctr" anchorCtr="0"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37897103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1981308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0" y="1981308"/>
            <a:ext cx="9144000" cy="2506025"/>
          </a:xfrm>
          <a:prstGeom prst="rect">
            <a:avLst/>
          </a:prstGeom>
          <a:solidFill>
            <a:schemeClr val="tx2"/>
          </a:solidFill>
        </p:spPr>
        <p:txBody>
          <a:bodyPr lIns="252000" tIns="252000" rIns="252000" bIns="252000" anchor="t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08245"/>
            <a:ext cx="9144000" cy="373063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52000" tIns="0" rIns="252000" bIns="0" anchor="ctr" anchorCtr="0"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29454312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2"/>
          <p:cNvSpPr>
            <a:spLocks noGrp="1"/>
          </p:cNvSpPr>
          <p:nvPr>
            <p:ph sz="quarter" idx="12" hasCustomPrompt="1"/>
          </p:nvPr>
        </p:nvSpPr>
        <p:spPr>
          <a:xfrm>
            <a:off x="4613273" y="-2"/>
            <a:ext cx="4530727" cy="5143499"/>
          </a:xfrm>
          <a:prstGeom prst="rect">
            <a:avLst/>
          </a:prstGeom>
          <a:solidFill>
            <a:schemeClr val="accent2">
              <a:alpha val="20000"/>
            </a:schemeClr>
          </a:solidFill>
        </p:spPr>
        <p:txBody>
          <a:bodyPr vert="horz" lIns="252000" tIns="252000" rIns="252000" bIns="252000"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442913" indent="-265113">
              <a:buFont typeface="Arial"/>
              <a:buChar char="•"/>
              <a:defRPr sz="1800">
                <a:solidFill>
                  <a:schemeClr val="accent1"/>
                </a:solidFill>
              </a:defRPr>
            </a:lvl2pPr>
            <a:lvl3pPr marL="708025" indent="-228600">
              <a:buFont typeface="Lucida Grande"/>
              <a:buChar char="–"/>
              <a:defRPr sz="1600">
                <a:solidFill>
                  <a:schemeClr val="accent1"/>
                </a:solidFill>
              </a:defRPr>
            </a:lvl3pPr>
            <a:lvl4pPr marL="976313" indent="-228600">
              <a:buFont typeface="Lucida Grande"/>
              <a:buChar char="–"/>
              <a:defRPr sz="1400">
                <a:solidFill>
                  <a:schemeClr val="accent1"/>
                </a:solidFill>
              </a:defRPr>
            </a:lvl4pPr>
            <a:lvl5pPr marL="1258888" indent="-231775" defTabSz="314325">
              <a:buFont typeface="Lucida Grande"/>
              <a:buChar char="–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sert Your Content Here</a:t>
            </a:r>
          </a:p>
        </p:txBody>
      </p:sp>
      <p:sp>
        <p:nvSpPr>
          <p:cNvPr id="15" name="Rectangle 14"/>
          <p:cNvSpPr/>
          <p:nvPr userDrawn="1"/>
        </p:nvSpPr>
        <p:spPr>
          <a:xfrm rot="5400000">
            <a:off x="-286951" y="243272"/>
            <a:ext cx="5143500" cy="46569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11"/>
          </p:nvPr>
        </p:nvSpPr>
        <p:spPr>
          <a:xfrm>
            <a:off x="-43677" y="-2"/>
            <a:ext cx="5030014" cy="5143502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vert="horz" lIns="252000" tIns="252000" rIns="252000" bIns="252000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42913" indent="-265113">
              <a:buFont typeface="Arial"/>
              <a:buChar char="•"/>
              <a:defRPr sz="2000">
                <a:solidFill>
                  <a:schemeClr val="bg1"/>
                </a:solidFill>
              </a:defRPr>
            </a:lvl2pPr>
            <a:lvl3pPr marL="708025" indent="-228600">
              <a:buFont typeface="Lucida Grande"/>
              <a:buChar char="–"/>
              <a:defRPr sz="1800">
                <a:solidFill>
                  <a:schemeClr val="bg1"/>
                </a:solidFill>
              </a:defRPr>
            </a:lvl3pPr>
            <a:lvl4pPr marL="976313" indent="-228600">
              <a:buFont typeface="Lucida Grande"/>
              <a:buChar char="–"/>
              <a:defRPr sz="1600">
                <a:solidFill>
                  <a:schemeClr val="bg1"/>
                </a:solidFill>
              </a:defRPr>
            </a:lvl4pPr>
            <a:lvl5pPr marL="1258888" indent="-231775" defTabSz="314325">
              <a:buFont typeface="Lucida Grande"/>
              <a:buChar char="–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17186638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2"/>
          <p:cNvSpPr>
            <a:spLocks noGrp="1"/>
          </p:cNvSpPr>
          <p:nvPr>
            <p:ph sz="quarter" idx="12" hasCustomPrompt="1"/>
          </p:nvPr>
        </p:nvSpPr>
        <p:spPr>
          <a:xfrm>
            <a:off x="4613273" y="0"/>
            <a:ext cx="4530727" cy="5143499"/>
          </a:xfrm>
          <a:prstGeom prst="rect">
            <a:avLst/>
          </a:prstGeom>
          <a:solidFill>
            <a:schemeClr val="accent2">
              <a:alpha val="20000"/>
            </a:schemeClr>
          </a:solidFill>
        </p:spPr>
        <p:txBody>
          <a:bodyPr vert="horz" lIns="252000" tIns="252000" rIns="252000" bIns="252000"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442913" indent="-265113">
              <a:buFont typeface="Arial"/>
              <a:buChar char="•"/>
              <a:defRPr sz="1800">
                <a:solidFill>
                  <a:schemeClr val="accent1"/>
                </a:solidFill>
              </a:defRPr>
            </a:lvl2pPr>
            <a:lvl3pPr marL="708025" indent="-228600">
              <a:buFont typeface="Lucida Grande"/>
              <a:buChar char="–"/>
              <a:defRPr sz="1600">
                <a:solidFill>
                  <a:schemeClr val="accent1"/>
                </a:solidFill>
              </a:defRPr>
            </a:lvl3pPr>
            <a:lvl4pPr marL="976313" indent="-228600">
              <a:buFont typeface="Lucida Grande"/>
              <a:buChar char="–"/>
              <a:defRPr sz="1400">
                <a:solidFill>
                  <a:schemeClr val="accent1"/>
                </a:solidFill>
              </a:defRPr>
            </a:lvl4pPr>
            <a:lvl5pPr marL="1258888" indent="-231775" defTabSz="314325">
              <a:buFont typeface="Lucida Grande"/>
              <a:buChar char="–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sert Your Content Here</a:t>
            </a:r>
          </a:p>
        </p:txBody>
      </p:sp>
      <p:sp>
        <p:nvSpPr>
          <p:cNvPr id="3" name="Content Placeholder 12"/>
          <p:cNvSpPr>
            <a:spLocks noGrp="1"/>
          </p:cNvSpPr>
          <p:nvPr>
            <p:ph sz="quarter" idx="11"/>
          </p:nvPr>
        </p:nvSpPr>
        <p:spPr>
          <a:xfrm>
            <a:off x="252413" y="982952"/>
            <a:ext cx="3749962" cy="1452705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236538" indent="-236538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1pPr>
            <a:lvl2pPr marL="457200" indent="-220663"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chemeClr val="accent1"/>
                </a:solidFill>
              </a:defRPr>
            </a:lvl2pPr>
            <a:lvl3pPr marL="630238" indent="-173038">
              <a:buClr>
                <a:schemeClr val="tx2"/>
              </a:buClr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803275" indent="-173038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977900" indent="-174625" defTabSz="314325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52413" y="348333"/>
            <a:ext cx="3749962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23" name="Rectangle 22"/>
          <p:cNvSpPr/>
          <p:nvPr userDrawn="1"/>
        </p:nvSpPr>
        <p:spPr>
          <a:xfrm rot="5400000">
            <a:off x="1854991" y="2385218"/>
            <a:ext cx="5143498" cy="3730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240208" y="0"/>
            <a:ext cx="746127" cy="51435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6953944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/SE Lif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58056" y="2175153"/>
            <a:ext cx="8633531" cy="36933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algn="l"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58056" y="2634497"/>
            <a:ext cx="8633531" cy="21544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35877306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52413" y="1713559"/>
            <a:ext cx="8577821" cy="1231106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buFont typeface="Arial"/>
              <a:buNone/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QUOTE OR CALLOU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955454"/>
            <a:ext cx="857782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30791866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52413" y="1713559"/>
            <a:ext cx="8577821" cy="1231106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buFont typeface="Arial"/>
              <a:buNone/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QUOTE OR CALLOU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955454"/>
            <a:ext cx="857782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1462854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2041071"/>
            <a:ext cx="9144000" cy="867640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52000" tIns="0" rIns="0" bIns="0" anchor="ctr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900386"/>
            <a:ext cx="9144000" cy="373063"/>
          </a:xfrm>
          <a:prstGeom prst="rect">
            <a:avLst/>
          </a:prstGeom>
          <a:solidFill>
            <a:schemeClr val="tx2"/>
          </a:solidFill>
        </p:spPr>
        <p:txBody>
          <a:bodyPr lIns="252000" tIns="0" rIns="0" bIns="0" anchor="ctr" anchorCtr="0"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4613" y="4568966"/>
            <a:ext cx="2120012" cy="530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950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52413" y="1713559"/>
            <a:ext cx="8577821" cy="1231106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buFont typeface="Arial"/>
              <a:buNone/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QUOTE OR CALLOU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955454"/>
            <a:ext cx="857782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9122409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63760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57902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03897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85677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1090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66407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4669" y="2084916"/>
            <a:ext cx="3894661" cy="97366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4669" y="2084916"/>
            <a:ext cx="3894661" cy="973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2507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31"/>
          </p:nvPr>
        </p:nvSpPr>
        <p:spPr>
          <a:xfrm>
            <a:off x="258055" y="1203325"/>
            <a:ext cx="8679570" cy="3176589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2"/>
          </p:nvPr>
        </p:nvSpPr>
        <p:spPr>
          <a:xfrm>
            <a:off x="252413" y="230187"/>
            <a:ext cx="8647112" cy="369332"/>
          </a:xfrm>
        </p:spPr>
        <p:txBody>
          <a:bodyPr/>
          <a:lstStyle>
            <a:lvl1pPr>
              <a:buFontTx/>
              <a:buNone/>
              <a:defRPr sz="2400">
                <a:solidFill>
                  <a:schemeClr val="tx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3"/>
          </p:nvPr>
        </p:nvSpPr>
        <p:spPr>
          <a:xfrm>
            <a:off x="252413" y="683366"/>
            <a:ext cx="8647112" cy="253916"/>
          </a:xfrm>
        </p:spPr>
        <p:txBody>
          <a:bodyPr/>
          <a:lstStyle>
            <a:lvl1pPr marL="358762" indent="-342888">
              <a:buFontTx/>
              <a:buNone/>
              <a:defRPr sz="1600" baseline="0">
                <a:solidFill>
                  <a:schemeClr val="accent1"/>
                </a:solidFill>
              </a:defRPr>
            </a:lvl1pPr>
            <a:lvl2pPr marL="407973" indent="-228592">
              <a:buFontTx/>
              <a:buNone/>
              <a:defRPr/>
            </a:lvl2pPr>
            <a:lvl3pPr marL="587354" indent="-228592">
              <a:buFontTx/>
              <a:buNone/>
              <a:defRPr/>
            </a:lvl3pPr>
            <a:lvl4pPr marL="768323" indent="-228592">
              <a:buFontTx/>
              <a:buNone/>
              <a:defRPr/>
            </a:lvl4pPr>
            <a:lvl5pPr marL="939767" indent="-228592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98859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4381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52415" y="1971244"/>
            <a:ext cx="8673872" cy="553998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 algn="l">
              <a:buFont typeface="Arial"/>
              <a:buNone/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5" y="2566268"/>
            <a:ext cx="867387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>
              <a:buNone/>
              <a:defRPr sz="2000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11" name="Rectangle 10"/>
          <p:cNvSpPr/>
          <p:nvPr userDrawn="1"/>
        </p:nvSpPr>
        <p:spPr>
          <a:xfrm flipV="1">
            <a:off x="0" y="3711678"/>
            <a:ext cx="9144000" cy="675319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52415" y="3954255"/>
            <a:ext cx="4360862" cy="184666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d by: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0" y="4386996"/>
            <a:ext cx="9144000" cy="10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4" y="4857155"/>
            <a:ext cx="1505531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4F5156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2992620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1981308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0" y="1981308"/>
            <a:ext cx="9144000" cy="3162191"/>
          </a:xfrm>
          <a:prstGeom prst="rect">
            <a:avLst/>
          </a:prstGeom>
          <a:solidFill>
            <a:schemeClr val="tx2"/>
          </a:solidFill>
        </p:spPr>
        <p:txBody>
          <a:bodyPr lIns="252000" tIns="252000" rIns="252000" bIns="252000" anchor="t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08245"/>
            <a:ext cx="9144000" cy="373063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52000" tIns="0" rIns="252000" bIns="0" anchor="ctr" anchorCtr="0"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29458371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9144000" cy="2908710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52000" tIns="0" rIns="0" bIns="252000" anchor="b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900387"/>
            <a:ext cx="9144000" cy="373063"/>
          </a:xfrm>
          <a:prstGeom prst="rect">
            <a:avLst/>
          </a:prstGeom>
          <a:solidFill>
            <a:schemeClr val="tx2"/>
          </a:solidFill>
        </p:spPr>
        <p:txBody>
          <a:bodyPr lIns="252000" tIns="0" rIns="0" bIns="0" anchor="ctr" anchorCtr="0"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6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4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20675619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2514600"/>
            <a:ext cx="9144000" cy="867640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52000" tIns="0" rIns="0" bIns="0" anchor="ctr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374137"/>
            <a:ext cx="9144000" cy="373063"/>
          </a:xfrm>
          <a:prstGeom prst="rect">
            <a:avLst/>
          </a:prstGeom>
          <a:solidFill>
            <a:schemeClr val="tx2"/>
          </a:solidFill>
        </p:spPr>
        <p:txBody>
          <a:bodyPr lIns="252000" tIns="0" rIns="0" bIns="0" anchor="ctr" anchorCtr="0"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6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4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35752356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1981308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0" y="1981309"/>
            <a:ext cx="9144000" cy="2506025"/>
          </a:xfrm>
          <a:prstGeom prst="rect">
            <a:avLst/>
          </a:prstGeom>
          <a:solidFill>
            <a:schemeClr val="tx2"/>
          </a:solidFill>
        </p:spPr>
        <p:txBody>
          <a:bodyPr lIns="252000" tIns="252000" rIns="252000" bIns="252000" anchor="t" anchorCtr="0"/>
          <a:lstStyle>
            <a:lvl1pPr algn="l">
              <a:defRPr sz="24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608246"/>
            <a:ext cx="9144000" cy="373063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lIns="252000" tIns="0" rIns="252000" bIns="0" anchor="ctr" anchorCtr="0"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6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4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12460403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2"/>
          <p:cNvSpPr>
            <a:spLocks noGrp="1"/>
          </p:cNvSpPr>
          <p:nvPr>
            <p:ph sz="quarter" idx="12" hasCustomPrompt="1"/>
          </p:nvPr>
        </p:nvSpPr>
        <p:spPr>
          <a:xfrm>
            <a:off x="4613274" y="-1"/>
            <a:ext cx="4530727" cy="5143499"/>
          </a:xfrm>
          <a:prstGeom prst="rect">
            <a:avLst/>
          </a:prstGeom>
          <a:solidFill>
            <a:schemeClr val="accent2">
              <a:alpha val="20000"/>
            </a:schemeClr>
          </a:solidFill>
        </p:spPr>
        <p:txBody>
          <a:bodyPr vert="horz" lIns="252000" tIns="252000" rIns="252000" bIns="252000"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442902" indent="-265106">
              <a:buFont typeface="Arial"/>
              <a:buChar char="•"/>
              <a:defRPr sz="1800">
                <a:solidFill>
                  <a:schemeClr val="accent1"/>
                </a:solidFill>
              </a:defRPr>
            </a:lvl2pPr>
            <a:lvl3pPr marL="708008" indent="-228594">
              <a:buFont typeface="Lucida Grande"/>
              <a:buChar char="–"/>
              <a:defRPr sz="1600">
                <a:solidFill>
                  <a:schemeClr val="accent1"/>
                </a:solidFill>
              </a:defRPr>
            </a:lvl3pPr>
            <a:lvl4pPr marL="976289" indent="-228594">
              <a:buFont typeface="Lucida Grande"/>
              <a:buChar char="–"/>
              <a:defRPr sz="1400">
                <a:solidFill>
                  <a:schemeClr val="accent1"/>
                </a:solidFill>
              </a:defRPr>
            </a:lvl4pPr>
            <a:lvl5pPr marL="1258856" indent="-231770" defTabSz="314318">
              <a:buFont typeface="Lucida Grande"/>
              <a:buChar char="–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sert Your Content Here</a:t>
            </a:r>
          </a:p>
        </p:txBody>
      </p:sp>
      <p:sp>
        <p:nvSpPr>
          <p:cNvPr id="15" name="Rectangle 14"/>
          <p:cNvSpPr/>
          <p:nvPr userDrawn="1"/>
        </p:nvSpPr>
        <p:spPr>
          <a:xfrm rot="5400000">
            <a:off x="-286951" y="243272"/>
            <a:ext cx="5143500" cy="46569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11"/>
          </p:nvPr>
        </p:nvSpPr>
        <p:spPr>
          <a:xfrm>
            <a:off x="-43677" y="-2"/>
            <a:ext cx="5030014" cy="5143502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vert="horz" lIns="252000" tIns="252000" rIns="252000" bIns="252000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42902" indent="-265106">
              <a:buFont typeface="Arial"/>
              <a:buChar char="•"/>
              <a:defRPr sz="2000">
                <a:solidFill>
                  <a:schemeClr val="bg1"/>
                </a:solidFill>
              </a:defRPr>
            </a:lvl2pPr>
            <a:lvl3pPr marL="708008" indent="-228594">
              <a:buFont typeface="Lucida Grande"/>
              <a:buChar char="–"/>
              <a:defRPr sz="1800">
                <a:solidFill>
                  <a:schemeClr val="bg1"/>
                </a:solidFill>
              </a:defRPr>
            </a:lvl3pPr>
            <a:lvl4pPr marL="976289" indent="-228594">
              <a:buFont typeface="Lucida Grande"/>
              <a:buChar char="–"/>
              <a:defRPr sz="1600">
                <a:solidFill>
                  <a:schemeClr val="bg1"/>
                </a:solidFill>
              </a:defRPr>
            </a:lvl4pPr>
            <a:lvl5pPr marL="1258856" indent="-231770" defTabSz="314318">
              <a:buFont typeface="Lucida Grande"/>
              <a:buChar char="–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6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4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3221515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2"/>
          <p:cNvSpPr>
            <a:spLocks noGrp="1"/>
          </p:cNvSpPr>
          <p:nvPr>
            <p:ph sz="quarter" idx="12" hasCustomPrompt="1"/>
          </p:nvPr>
        </p:nvSpPr>
        <p:spPr>
          <a:xfrm>
            <a:off x="4613274" y="1"/>
            <a:ext cx="4530727" cy="5143499"/>
          </a:xfrm>
          <a:prstGeom prst="rect">
            <a:avLst/>
          </a:prstGeom>
          <a:solidFill>
            <a:schemeClr val="accent2">
              <a:alpha val="20000"/>
            </a:schemeClr>
          </a:solidFill>
        </p:spPr>
        <p:txBody>
          <a:bodyPr vert="horz" lIns="252000" tIns="252000" rIns="252000" bIns="252000"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442902" indent="-265106">
              <a:buFont typeface="Arial"/>
              <a:buChar char="•"/>
              <a:defRPr sz="1800">
                <a:solidFill>
                  <a:schemeClr val="accent1"/>
                </a:solidFill>
              </a:defRPr>
            </a:lvl2pPr>
            <a:lvl3pPr marL="708008" indent="-228594">
              <a:buFont typeface="Lucida Grande"/>
              <a:buChar char="–"/>
              <a:defRPr sz="1600">
                <a:solidFill>
                  <a:schemeClr val="accent1"/>
                </a:solidFill>
              </a:defRPr>
            </a:lvl3pPr>
            <a:lvl4pPr marL="976289" indent="-228594">
              <a:buFont typeface="Lucida Grande"/>
              <a:buChar char="–"/>
              <a:defRPr sz="1400">
                <a:solidFill>
                  <a:schemeClr val="accent1"/>
                </a:solidFill>
              </a:defRPr>
            </a:lvl4pPr>
            <a:lvl5pPr marL="1258856" indent="-231770" defTabSz="314318">
              <a:buFont typeface="Lucida Grande"/>
              <a:buChar char="–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sert Your Content Here</a:t>
            </a:r>
          </a:p>
        </p:txBody>
      </p:sp>
      <p:sp>
        <p:nvSpPr>
          <p:cNvPr id="3" name="Content Placeholder 12"/>
          <p:cNvSpPr>
            <a:spLocks noGrp="1"/>
          </p:cNvSpPr>
          <p:nvPr>
            <p:ph sz="quarter" idx="11"/>
          </p:nvPr>
        </p:nvSpPr>
        <p:spPr>
          <a:xfrm>
            <a:off x="252414" y="982952"/>
            <a:ext cx="3749962" cy="1452705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236532" indent="-236532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1pPr>
            <a:lvl2pPr marL="457189" indent="-220658"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chemeClr val="accent1"/>
                </a:solidFill>
              </a:defRPr>
            </a:lvl2pPr>
            <a:lvl3pPr marL="630222" indent="-173034">
              <a:buClr>
                <a:schemeClr val="tx2"/>
              </a:buClr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803255" indent="-173034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977876" indent="-174621" defTabSz="314318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52414" y="348334"/>
            <a:ext cx="3749962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23" name="Rectangle 22"/>
          <p:cNvSpPr/>
          <p:nvPr userDrawn="1"/>
        </p:nvSpPr>
        <p:spPr>
          <a:xfrm rot="5400000">
            <a:off x="1854992" y="2385219"/>
            <a:ext cx="5143498" cy="3730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240208" y="0"/>
            <a:ext cx="746127" cy="51435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6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4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4079283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/SE Lif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58057" y="2175154"/>
            <a:ext cx="8633531" cy="36933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algn="l"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58057" y="2634498"/>
            <a:ext cx="8633531" cy="21544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6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4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42833239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52414" y="1713559"/>
            <a:ext cx="8577821" cy="1231106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buFont typeface="Arial"/>
              <a:buNone/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QUOTE OR CALLOU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955455"/>
            <a:ext cx="857782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accent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6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4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19919282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52414" y="1713559"/>
            <a:ext cx="8577821" cy="1231106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buFont typeface="Arial"/>
              <a:buNone/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QUOTE OR CALLOU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955455"/>
            <a:ext cx="857782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accent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6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4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119332395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52414" y="1713559"/>
            <a:ext cx="8577821" cy="1231106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buFont typeface="Arial"/>
              <a:buNone/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QUOTE OR CALLOU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955455"/>
            <a:ext cx="857782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accent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6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4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</p:spTree>
    <p:extLst>
      <p:ext uri="{BB962C8B-B14F-4D97-AF65-F5344CB8AC3E}">
        <p14:creationId xmlns:p14="http://schemas.microsoft.com/office/powerpoint/2010/main" val="752284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2021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2"/>
          <p:cNvSpPr>
            <a:spLocks noGrp="1"/>
          </p:cNvSpPr>
          <p:nvPr>
            <p:ph sz="quarter" idx="12" hasCustomPrompt="1"/>
          </p:nvPr>
        </p:nvSpPr>
        <p:spPr>
          <a:xfrm>
            <a:off x="4613273" y="-2"/>
            <a:ext cx="4530727" cy="5143499"/>
          </a:xfrm>
          <a:prstGeom prst="rect">
            <a:avLst/>
          </a:prstGeom>
          <a:solidFill>
            <a:schemeClr val="accent2">
              <a:alpha val="20000"/>
            </a:schemeClr>
          </a:solidFill>
        </p:spPr>
        <p:txBody>
          <a:bodyPr vert="horz" lIns="252000" tIns="252000" rIns="252000" bIns="252000"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442913" indent="-265113">
              <a:buFont typeface="Arial"/>
              <a:buChar char="•"/>
              <a:defRPr sz="1800">
                <a:solidFill>
                  <a:schemeClr val="accent1"/>
                </a:solidFill>
              </a:defRPr>
            </a:lvl2pPr>
            <a:lvl3pPr marL="708025" indent="-228600">
              <a:buFont typeface="Lucida Grande"/>
              <a:buChar char="–"/>
              <a:defRPr sz="1600">
                <a:solidFill>
                  <a:schemeClr val="accent1"/>
                </a:solidFill>
              </a:defRPr>
            </a:lvl3pPr>
            <a:lvl4pPr marL="976313" indent="-228600">
              <a:buFont typeface="Lucida Grande"/>
              <a:buChar char="–"/>
              <a:defRPr sz="1400">
                <a:solidFill>
                  <a:schemeClr val="accent1"/>
                </a:solidFill>
              </a:defRPr>
            </a:lvl4pPr>
            <a:lvl5pPr marL="1258888" indent="-231775" defTabSz="314325">
              <a:buFont typeface="Lucida Grande"/>
              <a:buChar char="–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sert Your Content Here</a:t>
            </a:r>
          </a:p>
        </p:txBody>
      </p:sp>
      <p:sp>
        <p:nvSpPr>
          <p:cNvPr id="15" name="Rectangle 14"/>
          <p:cNvSpPr/>
          <p:nvPr userDrawn="1"/>
        </p:nvSpPr>
        <p:spPr>
          <a:xfrm rot="5400000">
            <a:off x="-286951" y="243272"/>
            <a:ext cx="5143500" cy="4656951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11"/>
          </p:nvPr>
        </p:nvSpPr>
        <p:spPr>
          <a:xfrm>
            <a:off x="-43677" y="-2"/>
            <a:ext cx="5030014" cy="5143502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vert="horz" lIns="252000" tIns="252000" rIns="252000" bIns="252000"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42913" indent="-265113">
              <a:buFont typeface="Arial"/>
              <a:buChar char="•"/>
              <a:defRPr sz="2000">
                <a:solidFill>
                  <a:schemeClr val="bg1"/>
                </a:solidFill>
              </a:defRPr>
            </a:lvl2pPr>
            <a:lvl3pPr marL="708025" indent="-228600">
              <a:buFont typeface="Lucida Grande"/>
              <a:buChar char="–"/>
              <a:defRPr sz="1800">
                <a:solidFill>
                  <a:schemeClr val="bg1"/>
                </a:solidFill>
              </a:defRPr>
            </a:lvl3pPr>
            <a:lvl4pPr marL="976313" indent="-228600">
              <a:buFont typeface="Lucida Grande"/>
              <a:buChar char="–"/>
              <a:defRPr sz="1600">
                <a:solidFill>
                  <a:schemeClr val="bg1"/>
                </a:solidFill>
              </a:defRPr>
            </a:lvl4pPr>
            <a:lvl5pPr marL="1258888" indent="-231775" defTabSz="314325">
              <a:buFont typeface="Lucida Grande"/>
              <a:buChar char="–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4613" y="4568966"/>
            <a:ext cx="2120012" cy="530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894344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58664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28389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43927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44542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ave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85596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4670" y="2084916"/>
            <a:ext cx="3894661" cy="97366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4670" y="2084916"/>
            <a:ext cx="3894661" cy="973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197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/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12"/>
          <p:cNvSpPr>
            <a:spLocks noGrp="1"/>
          </p:cNvSpPr>
          <p:nvPr>
            <p:ph sz="quarter" idx="12" hasCustomPrompt="1"/>
          </p:nvPr>
        </p:nvSpPr>
        <p:spPr>
          <a:xfrm>
            <a:off x="4613273" y="0"/>
            <a:ext cx="4530727" cy="5143499"/>
          </a:xfrm>
          <a:prstGeom prst="rect">
            <a:avLst/>
          </a:prstGeom>
          <a:solidFill>
            <a:schemeClr val="accent2">
              <a:alpha val="20000"/>
            </a:schemeClr>
          </a:solidFill>
        </p:spPr>
        <p:txBody>
          <a:bodyPr vert="horz" lIns="252000" tIns="252000" rIns="252000" bIns="252000"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442913" indent="-265113">
              <a:buFont typeface="Arial"/>
              <a:buChar char="•"/>
              <a:defRPr sz="1800">
                <a:solidFill>
                  <a:schemeClr val="accent1"/>
                </a:solidFill>
              </a:defRPr>
            </a:lvl2pPr>
            <a:lvl3pPr marL="708025" indent="-228600">
              <a:buFont typeface="Lucida Grande"/>
              <a:buChar char="–"/>
              <a:defRPr sz="1600">
                <a:solidFill>
                  <a:schemeClr val="accent1"/>
                </a:solidFill>
              </a:defRPr>
            </a:lvl3pPr>
            <a:lvl4pPr marL="976313" indent="-228600">
              <a:buFont typeface="Lucida Grande"/>
              <a:buChar char="–"/>
              <a:defRPr sz="1400">
                <a:solidFill>
                  <a:schemeClr val="accent1"/>
                </a:solidFill>
              </a:defRPr>
            </a:lvl4pPr>
            <a:lvl5pPr marL="1258888" indent="-231775" defTabSz="314325">
              <a:buFont typeface="Lucida Grande"/>
              <a:buChar char="–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Insert Your Content Here</a:t>
            </a:r>
          </a:p>
        </p:txBody>
      </p:sp>
      <p:sp>
        <p:nvSpPr>
          <p:cNvPr id="3" name="Content Placeholder 12"/>
          <p:cNvSpPr>
            <a:spLocks noGrp="1"/>
          </p:cNvSpPr>
          <p:nvPr>
            <p:ph sz="quarter" idx="11"/>
          </p:nvPr>
        </p:nvSpPr>
        <p:spPr>
          <a:xfrm>
            <a:off x="252413" y="982952"/>
            <a:ext cx="3749962" cy="1452705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>
            <a:lvl1pPr marL="236538" indent="-236538"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accent1"/>
                </a:solidFill>
              </a:defRPr>
            </a:lvl1pPr>
            <a:lvl2pPr marL="457200" indent="-220663"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chemeClr val="accent1"/>
                </a:solidFill>
              </a:defRPr>
            </a:lvl2pPr>
            <a:lvl3pPr marL="630238" indent="-173038">
              <a:buClr>
                <a:schemeClr val="tx2"/>
              </a:buClr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803275" indent="-173038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977900" indent="-174625" defTabSz="314325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52413" y="348333"/>
            <a:ext cx="3749962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23" name="Rectangle 22"/>
          <p:cNvSpPr/>
          <p:nvPr userDrawn="1"/>
        </p:nvSpPr>
        <p:spPr>
          <a:xfrm rot="5400000">
            <a:off x="1854991" y="2385218"/>
            <a:ext cx="5143498" cy="3730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schneider_LIO_Life-Green_RGB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2201" y="4509591"/>
            <a:ext cx="1922297" cy="530004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240208" y="0"/>
            <a:ext cx="746127" cy="51435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4613" y="4568966"/>
            <a:ext cx="2120012" cy="530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85780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/SE Lif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258056" y="2175153"/>
            <a:ext cx="8633531" cy="36933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algn="l">
              <a:defRPr sz="24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258056" y="2634497"/>
            <a:ext cx="8633531" cy="215444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 marL="0" indent="0">
              <a:buNone/>
              <a:defRPr sz="14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Optional Subtitle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4613" y="4568966"/>
            <a:ext cx="2120012" cy="530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54839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52413" y="1713559"/>
            <a:ext cx="8577821" cy="1231106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buFont typeface="Arial"/>
              <a:buNone/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QUOTE OR CALLOU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955454"/>
            <a:ext cx="857782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4613" y="4568966"/>
            <a:ext cx="2120012" cy="530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21642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E8F93">
              <a:alpha val="20000"/>
            </a:srgbClr>
          </a:solidFill>
        </p:spPr>
        <p:txBody>
          <a:bodyPr/>
          <a:lstStyle>
            <a:lvl1pPr marL="0" indent="0">
              <a:buNone/>
              <a:defRPr sz="105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Drag Your Image Here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52413" y="1713559"/>
            <a:ext cx="8577821" cy="1231106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0" indent="0" algn="ctr">
              <a:buFont typeface="Arial"/>
              <a:buNone/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QUOTE OR CALLOUT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2414" y="2955454"/>
            <a:ext cx="857782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Optional Subtit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4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4613" y="4568966"/>
            <a:ext cx="2120012" cy="530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474681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image" Target="../media/image12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12.emf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4865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79" r:id="rId3"/>
    <p:sldLayoutId id="2147483687" r:id="rId4"/>
    <p:sldLayoutId id="2147483688" r:id="rId5"/>
    <p:sldLayoutId id="2147483689" r:id="rId6"/>
    <p:sldLayoutId id="2147483672" r:id="rId7"/>
    <p:sldLayoutId id="2147483670" r:id="rId8"/>
    <p:sldLayoutId id="2147483671" r:id="rId9"/>
    <p:sldLayoutId id="2147483686" r:id="rId10"/>
    <p:sldLayoutId id="2147483690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91" r:id="rId18"/>
    <p:sldLayoutId id="2147483692" r:id="rId19"/>
    <p:sldLayoutId id="2147484025" r:id="rId20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8342" y="4605004"/>
            <a:ext cx="1773276" cy="44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420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4026" r:id="rId1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8">
          <p15:clr>
            <a:srgbClr val="F26B43"/>
          </p15:clr>
        </p15:guide>
        <p15:guide id="2" pos="5602">
          <p15:clr>
            <a:srgbClr val="F26B43"/>
          </p15:clr>
        </p15:guide>
        <p15:guide id="3" orient="horz" pos="31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16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8342" y="4605005"/>
            <a:ext cx="1773276" cy="44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353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</p:sldLayoutIdLst>
  <p:hf hdr="0" dt="0"/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8">
          <p15:clr>
            <a:srgbClr val="F26B43"/>
          </p15:clr>
        </p15:guide>
        <p15:guide id="2" pos="5602">
          <p15:clr>
            <a:srgbClr val="F26B43"/>
          </p15:clr>
        </p15:guide>
        <p15:guide id="3" orient="horz" pos="31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162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057" y="230188"/>
            <a:ext cx="8633531" cy="3693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252414" y="1203326"/>
            <a:ext cx="8639175" cy="3176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5A9C12DC-491F-9444-86A2-13AC5C62A2FC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7" name="Picture 6" descr="schneider_LIO_Life-Green_RGB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7034" y="4494997"/>
            <a:ext cx="2041798" cy="562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579025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457184" rtl="0" eaLnBrk="1" latinLnBrk="0" hangingPunct="1">
        <a:spcBef>
          <a:spcPct val="0"/>
        </a:spcBef>
        <a:buNone/>
        <a:defRPr sz="2400" kern="1200">
          <a:solidFill>
            <a:srgbClr val="36C746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173032" indent="-157158" algn="l" defTabSz="457184" rtl="0" eaLnBrk="1" latinLnBrk="0" hangingPunct="1">
        <a:spcBef>
          <a:spcPts val="500"/>
        </a:spcBef>
        <a:spcAft>
          <a:spcPts val="500"/>
        </a:spcAft>
        <a:buClr>
          <a:schemeClr val="bg2"/>
        </a:buClr>
        <a:buFont typeface="Arial" panose="020B0604020202020204" pitchFamily="34" charset="0"/>
        <a:buNone/>
        <a:defRPr sz="15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361938" indent="-182557" algn="l" defTabSz="447659" rtl="0" eaLnBrk="1" latinLnBrk="0" hangingPunct="1">
        <a:spcBef>
          <a:spcPts val="500"/>
        </a:spcBef>
        <a:spcAft>
          <a:spcPts val="500"/>
        </a:spcAft>
        <a:buClr>
          <a:srgbClr val="36C746"/>
        </a:buClr>
        <a:buFont typeface="Arial" pitchFamily="34" charset="0"/>
        <a:buChar char="•"/>
        <a:defRPr sz="14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538144" indent="-179382" algn="l" defTabSz="457184" rtl="0" eaLnBrk="1" latinLnBrk="0" hangingPunct="1">
        <a:spcBef>
          <a:spcPts val="500"/>
        </a:spcBef>
        <a:spcAft>
          <a:spcPts val="500"/>
        </a:spcAft>
        <a:buClr>
          <a:srgbClr val="36C746"/>
        </a:buClr>
        <a:buFont typeface="Arial" pitchFamily="34" charset="0"/>
        <a:buChar char="‒"/>
        <a:defRPr sz="13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719113" indent="-179382" algn="l" defTabSz="457184" rtl="0" eaLnBrk="1" latinLnBrk="0" hangingPunct="1">
        <a:spcBef>
          <a:spcPts val="500"/>
        </a:spcBef>
        <a:spcAft>
          <a:spcPts val="500"/>
        </a:spcAft>
        <a:buClr>
          <a:srgbClr val="36C746"/>
        </a:buClr>
        <a:buFont typeface="Arial" panose="020B0604020202020204" pitchFamily="34" charset="0"/>
        <a:buChar char="–"/>
        <a:defRPr sz="12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896906" indent="-185731" algn="l" defTabSz="457184" rtl="0" eaLnBrk="1" latinLnBrk="0" hangingPunct="1">
        <a:spcBef>
          <a:spcPts val="500"/>
        </a:spcBef>
        <a:spcAft>
          <a:spcPts val="500"/>
        </a:spcAft>
        <a:buClr>
          <a:srgbClr val="36C746"/>
        </a:buClr>
        <a:buFont typeface="Arial" panose="020B0604020202020204" pitchFamily="34" charset="0"/>
        <a:buChar char="–"/>
        <a:defRPr sz="10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896080" indent="-182874" algn="l" defTabSz="457184" rtl="0" eaLnBrk="1" latinLnBrk="0" hangingPunct="1">
        <a:spcBef>
          <a:spcPts val="500"/>
        </a:spcBef>
        <a:spcAft>
          <a:spcPts val="500"/>
        </a:spcAft>
        <a:buClr>
          <a:schemeClr val="bg2"/>
        </a:buClr>
        <a:buFont typeface="Arial" panose="020B0604020202020204" pitchFamily="34" charset="0"/>
        <a:buChar char="–"/>
        <a:defRPr sz="1000" kern="1200" baseline="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6pPr>
      <a:lvl7pPr marL="896080" indent="-182874" algn="l" defTabSz="457184" rtl="0" eaLnBrk="1" latinLnBrk="0" hangingPunct="1">
        <a:spcBef>
          <a:spcPts val="500"/>
        </a:spcBef>
        <a:spcAft>
          <a:spcPts val="500"/>
        </a:spcAft>
        <a:buClr>
          <a:schemeClr val="bg2"/>
        </a:buClr>
        <a:buFont typeface="Arial" panose="020B0604020202020204" pitchFamily="34" charset="0"/>
        <a:buChar char="–"/>
        <a:defRPr sz="9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3428879" indent="-228592" algn="l" defTabSz="45718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3" indent="-228592" algn="l" defTabSz="45718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4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2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6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9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3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7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71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057" y="230188"/>
            <a:ext cx="8633531" cy="3693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252414" y="1203326"/>
            <a:ext cx="8639175" cy="3176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47891" y="4857155"/>
            <a:ext cx="52569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Page </a:t>
            </a:r>
            <a:fld id="{5A9C12DC-491F-9444-86A2-13AC5C62A2FC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2413" y="4857155"/>
            <a:ext cx="15097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onfidential Property of Schneider Electric |</a:t>
            </a:r>
          </a:p>
        </p:txBody>
      </p:sp>
      <p:pic>
        <p:nvPicPr>
          <p:cNvPr id="7" name="Picture 6" descr="schneider_LIO_Life-Green_RGB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7034" y="4494997"/>
            <a:ext cx="2041798" cy="562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662122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defTabSz="457184" rtl="0" eaLnBrk="1" latinLnBrk="0" hangingPunct="1">
        <a:spcBef>
          <a:spcPct val="0"/>
        </a:spcBef>
        <a:buNone/>
        <a:defRPr sz="2400" kern="1200">
          <a:solidFill>
            <a:srgbClr val="36C746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173032" indent="-157158" algn="l" defTabSz="457184" rtl="0" eaLnBrk="1" latinLnBrk="0" hangingPunct="1">
        <a:spcBef>
          <a:spcPts val="500"/>
        </a:spcBef>
        <a:spcAft>
          <a:spcPts val="500"/>
        </a:spcAft>
        <a:buClr>
          <a:schemeClr val="bg2"/>
        </a:buClr>
        <a:buFont typeface="Arial" panose="020B0604020202020204" pitchFamily="34" charset="0"/>
        <a:buNone/>
        <a:defRPr sz="15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361938" indent="-182557" algn="l" defTabSz="447659" rtl="0" eaLnBrk="1" latinLnBrk="0" hangingPunct="1">
        <a:spcBef>
          <a:spcPts val="500"/>
        </a:spcBef>
        <a:spcAft>
          <a:spcPts val="500"/>
        </a:spcAft>
        <a:buClr>
          <a:srgbClr val="36C746"/>
        </a:buClr>
        <a:buFont typeface="Arial" pitchFamily="34" charset="0"/>
        <a:buChar char="•"/>
        <a:defRPr sz="14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538144" indent="-179382" algn="l" defTabSz="457184" rtl="0" eaLnBrk="1" latinLnBrk="0" hangingPunct="1">
        <a:spcBef>
          <a:spcPts val="500"/>
        </a:spcBef>
        <a:spcAft>
          <a:spcPts val="500"/>
        </a:spcAft>
        <a:buClr>
          <a:srgbClr val="36C746"/>
        </a:buClr>
        <a:buFont typeface="Arial" pitchFamily="34" charset="0"/>
        <a:buChar char="‒"/>
        <a:defRPr sz="13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719113" indent="-179382" algn="l" defTabSz="457184" rtl="0" eaLnBrk="1" latinLnBrk="0" hangingPunct="1">
        <a:spcBef>
          <a:spcPts val="500"/>
        </a:spcBef>
        <a:spcAft>
          <a:spcPts val="500"/>
        </a:spcAft>
        <a:buClr>
          <a:srgbClr val="36C746"/>
        </a:buClr>
        <a:buFont typeface="Arial" panose="020B0604020202020204" pitchFamily="34" charset="0"/>
        <a:buChar char="–"/>
        <a:defRPr sz="12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896906" indent="-185731" algn="l" defTabSz="457184" rtl="0" eaLnBrk="1" latinLnBrk="0" hangingPunct="1">
        <a:spcBef>
          <a:spcPts val="500"/>
        </a:spcBef>
        <a:spcAft>
          <a:spcPts val="500"/>
        </a:spcAft>
        <a:buClr>
          <a:srgbClr val="36C746"/>
        </a:buClr>
        <a:buFont typeface="Arial" panose="020B0604020202020204" pitchFamily="34" charset="0"/>
        <a:buChar char="–"/>
        <a:defRPr sz="10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896080" indent="-182874" algn="l" defTabSz="457184" rtl="0" eaLnBrk="1" latinLnBrk="0" hangingPunct="1">
        <a:spcBef>
          <a:spcPts val="500"/>
        </a:spcBef>
        <a:spcAft>
          <a:spcPts val="500"/>
        </a:spcAft>
        <a:buClr>
          <a:schemeClr val="bg2"/>
        </a:buClr>
        <a:buFont typeface="Arial" panose="020B0604020202020204" pitchFamily="34" charset="0"/>
        <a:buChar char="–"/>
        <a:defRPr sz="1000" kern="1200" baseline="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6pPr>
      <a:lvl7pPr marL="896080" indent="-182874" algn="l" defTabSz="457184" rtl="0" eaLnBrk="1" latinLnBrk="0" hangingPunct="1">
        <a:spcBef>
          <a:spcPts val="500"/>
        </a:spcBef>
        <a:spcAft>
          <a:spcPts val="500"/>
        </a:spcAft>
        <a:buClr>
          <a:schemeClr val="bg2"/>
        </a:buClr>
        <a:buFont typeface="Arial" panose="020B0604020202020204" pitchFamily="34" charset="0"/>
        <a:buChar char="–"/>
        <a:defRPr sz="9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3428879" indent="-228592" algn="l" defTabSz="45718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3" indent="-228592" algn="l" defTabSz="45718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4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2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6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9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3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7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71" algn="l" defTabSz="4571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3.xml"/><Relationship Id="rId7" Type="http://schemas.openxmlformats.org/officeDocument/2006/relationships/image" Target="../media/image15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C6103C-5F3F-41A2-B183-9646E1D4A0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9C6103C-5F3F-41A2-B183-9646E1D4A0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DFA14F3-6EB7-4A96-B7AA-BD3F76D85F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172">
              <a:defRPr/>
            </a:pPr>
            <a:endParaRPr lang="lv-LV" sz="360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30" r="630"/>
          <a:stretch>
            <a:fillRect/>
          </a:stretch>
        </p:blipFill>
        <p:spPr/>
      </p:pic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52414" y="3835897"/>
            <a:ext cx="5573422" cy="276995"/>
          </a:xfrm>
        </p:spPr>
        <p:txBody>
          <a:bodyPr lIns="91437" tIns="45718" rIns="91437" bIns="45718" anchor="t"/>
          <a:lstStyle/>
          <a:p>
            <a:pPr marL="177800" indent="-1905"/>
            <a:endParaRPr lang="en-US" dirty="0">
              <a:cs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457172">
              <a:defRPr/>
            </a:pPr>
            <a:r>
              <a:rPr lang="en-US"/>
              <a:t>Confidential Property of Schneider Electric |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77EC26-5216-4695-9260-407118B175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2414" y="2890184"/>
            <a:ext cx="8673872" cy="861774"/>
          </a:xfrm>
        </p:spPr>
        <p:txBody>
          <a:bodyPr/>
          <a:lstStyle/>
          <a:p>
            <a:r>
              <a:rPr lang="en-US" sz="3200" dirty="0"/>
              <a:t>Easy Rack and PDU promo </a:t>
            </a:r>
            <a:br>
              <a:rPr lang="en-US" sz="3200" dirty="0"/>
            </a:br>
            <a:endParaRPr lang="en-US" sz="24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67511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8">
            <a:extLst>
              <a:ext uri="{FF2B5EF4-FFF2-40B4-BE49-F238E27FC236}">
                <a16:creationId xmlns:a16="http://schemas.microsoft.com/office/drawing/2014/main" id="{9B20014F-3482-47C5-9501-0D9D2D9F64D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/>
          <a:stretch>
            <a:fillRect/>
          </a:stretch>
        </p:blipFill>
        <p:spPr>
          <a:xfrm>
            <a:off x="4811711" y="1481137"/>
            <a:ext cx="4133850" cy="2181225"/>
          </a:xfrm>
        </p:spPr>
      </p:pic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D44A090-A35B-4865-8A0B-076BC5EE73C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52413" y="991356"/>
            <a:ext cx="3749962" cy="911019"/>
          </a:xfrm>
        </p:spPr>
        <p:txBody>
          <a:bodyPr vert="horz" wrap="square" lIns="0" tIns="0" rIns="0" bIns="0" anchor="t">
            <a:spAutoFit/>
          </a:bodyPr>
          <a:lstStyle/>
          <a:p>
            <a:pPr marL="236220" indent="-236220"/>
            <a:endParaRPr lang="fr-FR" sz="1600" dirty="0">
              <a:cs typeface="Arial"/>
            </a:endParaRPr>
          </a:p>
          <a:p>
            <a:pPr marL="236220" indent="-236220"/>
            <a:endParaRPr lang="fr-FR" sz="1600" dirty="0">
              <a:cs typeface="Arial"/>
            </a:endParaRPr>
          </a:p>
          <a:p>
            <a:pPr marL="0" indent="0">
              <a:buNone/>
            </a:pPr>
            <a:endParaRPr lang="fr-FR" dirty="0">
              <a:cs typeface="Arial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7D6303E-CC86-4A40-BFFF-43FBCDFE72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413" y="256000"/>
            <a:ext cx="3749962" cy="553998"/>
          </a:xfrm>
        </p:spPr>
        <p:txBody>
          <a:bodyPr/>
          <a:lstStyle/>
          <a:p>
            <a:r>
              <a:rPr lang="fr-FR" sz="1800" dirty="0" err="1">
                <a:cs typeface="Arial"/>
              </a:rPr>
              <a:t>Easy</a:t>
            </a:r>
            <a:r>
              <a:rPr lang="fr-FR" sz="1800" dirty="0">
                <a:cs typeface="Arial"/>
              </a:rPr>
              <a:t> Rack and PDU promo </a:t>
            </a:r>
            <a:br>
              <a:rPr lang="fr-FR" sz="1800" dirty="0">
                <a:cs typeface="Arial"/>
              </a:rPr>
            </a:br>
            <a:r>
              <a:rPr lang="fr-FR" sz="1800" dirty="0">
                <a:cs typeface="Arial"/>
              </a:rPr>
              <a:t>Sep-</a:t>
            </a:r>
            <a:r>
              <a:rPr lang="fr-FR" sz="1800" dirty="0" err="1">
                <a:cs typeface="Arial"/>
              </a:rPr>
              <a:t>Oct</a:t>
            </a:r>
            <a:r>
              <a:rPr lang="fr-FR" sz="1800" dirty="0">
                <a:cs typeface="Arial"/>
              </a:rPr>
              <a:t> 2021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C96BFC8-C96F-4261-98F2-FEAC5BA6E2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88203" y="0"/>
            <a:ext cx="746127" cy="51435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86787C4-258B-442C-B3D9-E0CFEC173F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5A9C12DC-491F-9444-86A2-13AC5C62A2FC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2EA398F7-0FC6-4647-8C75-ABF51AA76E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 Property of Schneider Electric |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F7F6C13-40CB-49A3-8174-89E71DD282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413" y="1287250"/>
            <a:ext cx="2686050" cy="230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055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f75f4792b86c40a1b4f7da2e160cfe1707f61f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.QTiH1R1XZtR7XzQ03jA"/>
</p:tagLst>
</file>

<file path=ppt/theme/theme1.xml><?xml version="1.0" encoding="utf-8"?>
<a:theme xmlns:a="http://schemas.openxmlformats.org/drawingml/2006/main" name="Schneider Title Slides">
  <a:themeElements>
    <a:clrScheme name="SE Life Green MS Office">
      <a:dk1>
        <a:sysClr val="windowText" lastClr="000000"/>
      </a:dk1>
      <a:lt1>
        <a:sysClr val="window" lastClr="FFFFFF"/>
      </a:lt1>
      <a:dk2>
        <a:srgbClr val="3DCD58"/>
      </a:dk2>
      <a:lt2>
        <a:srgbClr val="3DCD58"/>
      </a:lt2>
      <a:accent1>
        <a:srgbClr val="626469"/>
      </a:accent1>
      <a:accent2>
        <a:srgbClr val="9FA0A4"/>
      </a:accent2>
      <a:accent3>
        <a:srgbClr val="FFD100"/>
      </a:accent3>
      <a:accent4>
        <a:srgbClr val="E47F00"/>
      </a:accent4>
      <a:accent5>
        <a:srgbClr val="B10043"/>
      </a:accent5>
      <a:accent6>
        <a:srgbClr val="42B4E6"/>
      </a:accent6>
      <a:hlink>
        <a:srgbClr val="B10043"/>
      </a:hlink>
      <a:folHlink>
        <a:srgbClr val="42B4E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Schneider Title Slides">
  <a:themeElements>
    <a:clrScheme name="SE Life Green MS Office">
      <a:dk1>
        <a:sysClr val="windowText" lastClr="000000"/>
      </a:dk1>
      <a:lt1>
        <a:sysClr val="window" lastClr="FFFFFF"/>
      </a:lt1>
      <a:dk2>
        <a:srgbClr val="3DCD58"/>
      </a:dk2>
      <a:lt2>
        <a:srgbClr val="3DCD58"/>
      </a:lt2>
      <a:accent1>
        <a:srgbClr val="626469"/>
      </a:accent1>
      <a:accent2>
        <a:srgbClr val="9FA0A4"/>
      </a:accent2>
      <a:accent3>
        <a:srgbClr val="FFD100"/>
      </a:accent3>
      <a:accent4>
        <a:srgbClr val="E47F00"/>
      </a:accent4>
      <a:accent5>
        <a:srgbClr val="B10043"/>
      </a:accent5>
      <a:accent6>
        <a:srgbClr val="42B4E6"/>
      </a:accent6>
      <a:hlink>
        <a:srgbClr val="B10043"/>
      </a:hlink>
      <a:folHlink>
        <a:srgbClr val="42B4E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Schneider Title Slides">
  <a:themeElements>
    <a:clrScheme name="SE Life Green MS Office">
      <a:dk1>
        <a:sysClr val="windowText" lastClr="000000"/>
      </a:dk1>
      <a:lt1>
        <a:sysClr val="window" lastClr="FFFFFF"/>
      </a:lt1>
      <a:dk2>
        <a:srgbClr val="3DCD58"/>
      </a:dk2>
      <a:lt2>
        <a:srgbClr val="3DCD58"/>
      </a:lt2>
      <a:accent1>
        <a:srgbClr val="626469"/>
      </a:accent1>
      <a:accent2>
        <a:srgbClr val="9FA0A4"/>
      </a:accent2>
      <a:accent3>
        <a:srgbClr val="FFD100"/>
      </a:accent3>
      <a:accent4>
        <a:srgbClr val="E47F00"/>
      </a:accent4>
      <a:accent5>
        <a:srgbClr val="B10043"/>
      </a:accent5>
      <a:accent6>
        <a:srgbClr val="42B4E6"/>
      </a:accent6>
      <a:hlink>
        <a:srgbClr val="B10043"/>
      </a:hlink>
      <a:folHlink>
        <a:srgbClr val="42B4E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Schneider Text Slides">
  <a:themeElements>
    <a:clrScheme name="SE Life Green MS Office">
      <a:dk1>
        <a:sysClr val="windowText" lastClr="000000"/>
      </a:dk1>
      <a:lt1>
        <a:sysClr val="window" lastClr="FFFFFF"/>
      </a:lt1>
      <a:dk2>
        <a:srgbClr val="3DCD58"/>
      </a:dk2>
      <a:lt2>
        <a:srgbClr val="3DCD58"/>
      </a:lt2>
      <a:accent1>
        <a:srgbClr val="626469"/>
      </a:accent1>
      <a:accent2>
        <a:srgbClr val="9FA0A4"/>
      </a:accent2>
      <a:accent3>
        <a:srgbClr val="FFD100"/>
      </a:accent3>
      <a:accent4>
        <a:srgbClr val="E47F00"/>
      </a:accent4>
      <a:accent5>
        <a:srgbClr val="B10043"/>
      </a:accent5>
      <a:accent6>
        <a:srgbClr val="42B4E6"/>
      </a:accent6>
      <a:hlink>
        <a:srgbClr val="B10043"/>
      </a:hlink>
      <a:folHlink>
        <a:srgbClr val="42B4E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alpha val="0"/>
          </a:schemeClr>
        </a:solidFill>
        <a:ln w="25400">
          <a:solidFill>
            <a:srgbClr val="00B050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rgbClr val="4F515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AAA753BF-A783-4CE8-93D2-EBFB2DF95279}" vid="{A4665921-DEBE-4526-B793-7CE56F0891D0}"/>
    </a:ext>
  </a:extLst>
</a:theme>
</file>

<file path=ppt/theme/theme5.xml><?xml version="1.0" encoding="utf-8"?>
<a:theme xmlns:a="http://schemas.openxmlformats.org/drawingml/2006/main" name="5_Schneider Text Slides">
  <a:themeElements>
    <a:clrScheme name="SE Life Green MS Office">
      <a:dk1>
        <a:sysClr val="windowText" lastClr="000000"/>
      </a:dk1>
      <a:lt1>
        <a:sysClr val="window" lastClr="FFFFFF"/>
      </a:lt1>
      <a:dk2>
        <a:srgbClr val="3DCD58"/>
      </a:dk2>
      <a:lt2>
        <a:srgbClr val="3DCD58"/>
      </a:lt2>
      <a:accent1>
        <a:srgbClr val="626469"/>
      </a:accent1>
      <a:accent2>
        <a:srgbClr val="9FA0A4"/>
      </a:accent2>
      <a:accent3>
        <a:srgbClr val="FFD100"/>
      </a:accent3>
      <a:accent4>
        <a:srgbClr val="E47F00"/>
      </a:accent4>
      <a:accent5>
        <a:srgbClr val="B10043"/>
      </a:accent5>
      <a:accent6>
        <a:srgbClr val="42B4E6"/>
      </a:accent6>
      <a:hlink>
        <a:srgbClr val="B10043"/>
      </a:hlink>
      <a:folHlink>
        <a:srgbClr val="42B4E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rgbClr val="4F515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illede xmlns="01f686cb-493a-4ac9-a352-7d0ae74ef461">
      <Url xsi:nil="true"/>
      <Description xsi:nil="true"/>
    </Billede>
    <Ergotronlogo xmlns="01f686cb-493a-4ac9-a352-7d0ae74ef46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B7CE27AC175DA4D9EBF09153349B8B5" ma:contentTypeVersion="15" ma:contentTypeDescription="Ein neues Dokument erstellen." ma:contentTypeScope="" ma:versionID="a39b8c7668af9f4a1be02bef756f5faa">
  <xsd:schema xmlns:xsd="http://www.w3.org/2001/XMLSchema" xmlns:xs="http://www.w3.org/2001/XMLSchema" xmlns:p="http://schemas.microsoft.com/office/2006/metadata/properties" xmlns:ns2="3f8c5fe3-c8ce-4090-92d5-bcb4b8d33a54" xmlns:ns3="01f686cb-493a-4ac9-a352-7d0ae74ef461" targetNamespace="http://schemas.microsoft.com/office/2006/metadata/properties" ma:root="true" ma:fieldsID="57d74d95f04668f0d179b96861bcc856" ns2:_="" ns3:_="">
    <xsd:import namespace="3f8c5fe3-c8ce-4090-92d5-bcb4b8d33a54"/>
    <xsd:import namespace="01f686cb-493a-4ac9-a352-7d0ae74ef46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Billede" minOccurs="0"/>
                <xsd:element ref="ns3:Ergotronlogo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8c5fe3-c8ce-4090-92d5-bcb4b8d33a5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f686cb-493a-4ac9-a352-7d0ae74ef4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Billede" ma:index="20" nillable="true" ma:displayName="Billede" ma:format="Image" ma:internalName="Billed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Ergotronlogo" ma:index="21" nillable="true" ma:displayName="Ergotron logo" ma:format="Thumbnail" ma:internalName="Ergotronlogo">
      <xsd:simpleType>
        <xsd:restriction base="dms:Unknown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19D6AD-4776-4A33-AB16-B1CD3B656B02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c6a6d35-ae73-4e9d-97cf-ec56c14801a6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5E8AF00-1CC7-4AF4-BFF8-AB12D7482278}"/>
</file>

<file path=customXml/itemProps3.xml><?xml version="1.0" encoding="utf-8"?>
<ds:datastoreItem xmlns:ds="http://schemas.openxmlformats.org/officeDocument/2006/customXml" ds:itemID="{1C0C8B21-3053-4B36-9AD5-9BED1FC5CCB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47</TotalTime>
  <Words>29</Words>
  <Application>Microsoft Office PowerPoint</Application>
  <PresentationFormat>On-screen Show (16:9)</PresentationFormat>
  <Paragraphs>7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Lucida Grande</vt:lpstr>
      <vt:lpstr>Schneider Title Slides</vt:lpstr>
      <vt:lpstr>1_Schneider Title Slides</vt:lpstr>
      <vt:lpstr>2_Schneider Title Slides</vt:lpstr>
      <vt:lpstr>Schneider Text Slides</vt:lpstr>
      <vt:lpstr>5_Schneider Text Slides</vt:lpstr>
      <vt:lpstr>think-cell Slide</vt:lpstr>
      <vt:lpstr>Easy Rack and PDU promo  </vt:lpstr>
      <vt:lpstr>Easy Rack and PDU promo  Sep-Oct 2021</vt:lpstr>
    </vt:vector>
  </TitlesOfParts>
  <Company>McMill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e Fournier</dc:creator>
  <cp:lastModifiedBy>ANNA OTTERBERG</cp:lastModifiedBy>
  <cp:revision>232</cp:revision>
  <cp:lastPrinted>2020-12-15T06:52:14Z</cp:lastPrinted>
  <dcterms:created xsi:type="dcterms:W3CDTF">2015-05-04T14:04:27Z</dcterms:created>
  <dcterms:modified xsi:type="dcterms:W3CDTF">2021-06-15T11:3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7CE27AC175DA4D9EBF09153349B8B5</vt:lpwstr>
  </property>
  <property fmtid="{D5CDD505-2E9C-101B-9397-08002B2CF9AE}" pid="3" name="MSIP_Label_fe7c75fe-f914-45f8-9747-40a3f5d4287a_Enabled">
    <vt:lpwstr>true</vt:lpwstr>
  </property>
  <property fmtid="{D5CDD505-2E9C-101B-9397-08002B2CF9AE}" pid="4" name="MSIP_Label_fe7c75fe-f914-45f8-9747-40a3f5d4287a_SetDate">
    <vt:lpwstr>2021-04-06T02:52:09Z</vt:lpwstr>
  </property>
  <property fmtid="{D5CDD505-2E9C-101B-9397-08002B2CF9AE}" pid="5" name="MSIP_Label_fe7c75fe-f914-45f8-9747-40a3f5d4287a_Method">
    <vt:lpwstr>Standard</vt:lpwstr>
  </property>
  <property fmtid="{D5CDD505-2E9C-101B-9397-08002B2CF9AE}" pid="6" name="MSIP_Label_fe7c75fe-f914-45f8-9747-40a3f5d4287a_Name">
    <vt:lpwstr>Without Visual Marking</vt:lpwstr>
  </property>
  <property fmtid="{D5CDD505-2E9C-101B-9397-08002B2CF9AE}" pid="7" name="MSIP_Label_fe7c75fe-f914-45f8-9747-40a3f5d4287a_SiteId">
    <vt:lpwstr>6e51e1ad-c54b-4b39-b598-0ffe9ae68fef</vt:lpwstr>
  </property>
  <property fmtid="{D5CDD505-2E9C-101B-9397-08002B2CF9AE}" pid="8" name="MSIP_Label_fe7c75fe-f914-45f8-9747-40a3f5d4287a_ActionId">
    <vt:lpwstr>a1b8d11b-22a8-460b-9d33-fc2d299ea36f</vt:lpwstr>
  </property>
  <property fmtid="{D5CDD505-2E9C-101B-9397-08002B2CF9AE}" pid="9" name="MSIP_Label_fe7c75fe-f914-45f8-9747-40a3f5d4287a_ContentBits">
    <vt:lpwstr>0</vt:lpwstr>
  </property>
</Properties>
</file>